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sldIdLst>
    <p:sldId id="260" r:id="rId3"/>
    <p:sldId id="262" r:id="rId4"/>
    <p:sldId id="261" r:id="rId5"/>
    <p:sldId id="259" r:id="rId6"/>
    <p:sldId id="258" r:id="rId7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svg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3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2.emf"/><Relationship Id="rId5" Type="http://schemas.openxmlformats.org/officeDocument/2006/relationships/tags" Target="../tags/tag14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8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8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0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1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8.xml"/><Relationship Id="rId9" Type="http://schemas.openxmlformats.org/officeDocument/2006/relationships/tags" Target="../tags/tag21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8.emf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image" Target="../media/image1.emf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1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4.xml"/><Relationship Id="rId9" Type="http://schemas.openxmlformats.org/officeDocument/2006/relationships/tags" Target="../tags/tag2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56.xml"/><Relationship Id="rId7" Type="http://schemas.openxmlformats.org/officeDocument/2006/relationships/image" Target="../media/image2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McKinsey &amp; Company is strictly prohibited</a:t>
            </a:r>
          </a:p>
        </p:txBody>
      </p:sp>
      <p:pic>
        <p:nvPicPr>
          <p:cNvPr id="18" name="Partnership">
            <a:extLst>
              <a:ext uri="{FF2B5EF4-FFF2-40B4-BE49-F238E27FC236}">
                <a16:creationId xmlns:a16="http://schemas.microsoft.com/office/drawing/2014/main" id="{A00311E5-5DD2-4988-94D4-79B581B94F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40F029-D503-41EA-9DD1-42DBAE313A0F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18D61011-66A0-4C81-941E-D63CC06B1C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432F335E-7785-4123-A720-55B1C78518D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F5EEAF01-776E-4297-981A-CCA9ED98FA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191069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53635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2231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856397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09377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95259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72657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08693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0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8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0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35F98-6B38-2169-C3ED-9294C4324B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596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4F44BAD-F7AA-85EC-2C85-EAC7528B5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927807"/>
            <a:ext cx="2188464" cy="731520"/>
          </a:xfrm>
        </p:spPr>
        <p:txBody>
          <a:bodyPr vert="horz"/>
          <a:lstStyle/>
          <a:p>
            <a:r>
              <a:rPr lang="en-US" dirty="0"/>
              <a:t>Events list (desktop) [Saved theme]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5A9A04D-D4D3-7D07-330C-F0B2828DFF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6682" y="0"/>
            <a:ext cx="6178636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87D4EC4-2F17-330B-8CB1-0BFAF4D17471}"/>
              </a:ext>
            </a:extLst>
          </p:cNvPr>
          <p:cNvSpPr txBox="1"/>
          <p:nvPr/>
        </p:nvSpPr>
        <p:spPr>
          <a:xfrm>
            <a:off x="2335696" y="67586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23546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211A6E-2AD7-364D-F2BA-32D42C1A90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775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D22628-DA61-BFFD-1FCA-C1987BE2C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98599"/>
            <a:ext cx="11082528" cy="731520"/>
          </a:xfrm>
        </p:spPr>
        <p:txBody>
          <a:bodyPr vert="horz"/>
          <a:lstStyle/>
          <a:p>
            <a:r>
              <a:rPr lang="en-US" dirty="0"/>
              <a:t>Events list</a:t>
            </a:r>
            <a:br>
              <a:rPr lang="en-US" dirty="0"/>
            </a:br>
            <a:r>
              <a:rPr lang="en-US" dirty="0"/>
              <a:t>(desktop)</a:t>
            </a:r>
            <a:br>
              <a:rPr lang="en-US" dirty="0"/>
            </a:br>
            <a:r>
              <a:rPr lang="en-US" dirty="0"/>
              <a:t>[Search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1F37C9-0B3B-9B9F-1907-0C78985885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21396" y="0"/>
            <a:ext cx="61786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524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38AFA37-67AB-06E9-E6C5-E0A55C3FA3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792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6757D2C4-0529-C56A-448F-6231811AA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249" y="30892"/>
            <a:ext cx="3138367" cy="479657"/>
          </a:xfrm>
        </p:spPr>
        <p:txBody>
          <a:bodyPr vert="horz"/>
          <a:lstStyle/>
          <a:p>
            <a:r>
              <a:rPr lang="en-US" dirty="0"/>
              <a:t> [Unsaved theme]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199A2F-1DFA-4356-1A68-B105BEA59D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766" y="318846"/>
            <a:ext cx="3747237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B6E980D-EE5B-8E25-FBA2-F6AB49EEBF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2269" y="318846"/>
            <a:ext cx="3747237" cy="6858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16A13A0-9C98-B884-8F25-DE2520B205E0}"/>
              </a:ext>
            </a:extLst>
          </p:cNvPr>
          <p:cNvSpPr txBox="1"/>
          <p:nvPr/>
        </p:nvSpPr>
        <p:spPr>
          <a:xfrm>
            <a:off x="4553465" y="80319"/>
            <a:ext cx="6487296" cy="4770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US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Events list (mobile)</a:t>
            </a:r>
            <a:endParaRPr 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51D8073-B16C-F508-6B58-6CFF8B76C9CB}"/>
              </a:ext>
            </a:extLst>
          </p:cNvPr>
          <p:cNvSpPr txBox="1"/>
          <p:nvPr/>
        </p:nvSpPr>
        <p:spPr>
          <a:xfrm>
            <a:off x="8300702" y="80319"/>
            <a:ext cx="6098058" cy="47705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US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[Hide filter, scroll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46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B9C3721-56EC-CC8A-E8A3-A093F78E8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801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E3E4FEF-724D-09E1-DD27-47127D0DF7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3838" y="0"/>
            <a:ext cx="6178636" cy="6858000"/>
          </a:xfrm>
          <a:prstGeom prst="rect">
            <a:avLst/>
          </a:prstGeom>
          <a:ln>
            <a:noFill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1B696F6-21E4-1374-68A8-738C05AAB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892" y="526751"/>
            <a:ext cx="11082528" cy="731520"/>
          </a:xfrm>
        </p:spPr>
        <p:txBody>
          <a:bodyPr vert="horz"/>
          <a:lstStyle/>
          <a:p>
            <a:r>
              <a:rPr lang="en-US" dirty="0"/>
              <a:t>Events details</a:t>
            </a:r>
            <a:br>
              <a:rPr lang="en-US" dirty="0"/>
            </a:br>
            <a:r>
              <a:rPr lang="en-US" dirty="0"/>
              <a:t>(desktop)</a:t>
            </a:r>
          </a:p>
        </p:txBody>
      </p:sp>
    </p:spTree>
    <p:extLst>
      <p:ext uri="{BB962C8B-B14F-4D97-AF65-F5344CB8AC3E}">
        <p14:creationId xmlns:p14="http://schemas.microsoft.com/office/powerpoint/2010/main" val="2832315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473ECD2A-4A45-9431-D8AC-C6B0E5D3B2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80682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5EE5C7B3-02F3-B185-343D-75E14E141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9406" y="-213044"/>
            <a:ext cx="11082528" cy="731520"/>
          </a:xfrm>
        </p:spPr>
        <p:txBody>
          <a:bodyPr vert="horz"/>
          <a:lstStyle/>
          <a:p>
            <a:r>
              <a:rPr lang="en-US" dirty="0"/>
              <a:t>Event details (mobile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E75ECF-6FF8-7AEB-6D24-40B4C5568B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8388" y="327454"/>
            <a:ext cx="3930805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9EAE476-A25F-1AB6-754D-A21E21915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2954" y="327454"/>
            <a:ext cx="3717716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AAB951D-6F05-0A89-7D7F-64CED8D42B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92479" y="308919"/>
            <a:ext cx="37177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088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Default Them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D9A50F1B-CCF8-4C1F-9A1A-520375BBBC7B}" vid="{FB6C2952-D2FE-437D-B127-0973CD0139F0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Presentation2" id="{A302B4F8-5EA8-44D8-88B5-0EA8D055C305}" vid="{4E26EAA2-60E8-4D71-A419-C6F584D0041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52</TotalTime>
  <Words>46</Words>
  <Application>Microsoft Macintosh PowerPoint</Application>
  <PresentationFormat>Widescreen</PresentationFormat>
  <Paragraphs>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Georgia</vt:lpstr>
      <vt:lpstr>Segoe UI</vt:lpstr>
      <vt:lpstr>Wingdings</vt:lpstr>
      <vt:lpstr>Default Theme</vt:lpstr>
      <vt:lpstr>Contrast</vt:lpstr>
      <vt:lpstr>think-cell Slide</vt:lpstr>
      <vt:lpstr>Events list (desktop) [Saved theme]</vt:lpstr>
      <vt:lpstr>Events list (desktop) [Search]</vt:lpstr>
      <vt:lpstr> [Unsaved theme]</vt:lpstr>
      <vt:lpstr>Events details (desktop)</vt:lpstr>
      <vt:lpstr>Event details (mobil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reya Verma</dc:creator>
  <cp:lastModifiedBy>Shreya Verma</cp:lastModifiedBy>
  <cp:revision>3</cp:revision>
  <dcterms:created xsi:type="dcterms:W3CDTF">2023-02-15T08:37:33Z</dcterms:created>
  <dcterms:modified xsi:type="dcterms:W3CDTF">2023-02-17T06:14:54Z</dcterms:modified>
</cp:coreProperties>
</file>